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2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D88086-2AE7-445F-A091-3C234B03116F}" v="49" dt="2019-05-24T09:31:33.3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75" d="100"/>
          <a:sy n="75" d="100"/>
        </p:scale>
        <p:origin x="82" y="523"/>
      </p:cViewPr>
      <p:guideLst>
        <p:guide orient="horz" pos="210"/>
        <p:guide pos="531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東村邦彦 / TOUMURA，KUNIHIKO" userId="aa80352f-8581-4c8d-8917-6e2824d17308" providerId="ADAL" clId="{E3D88086-2AE7-445F-A091-3C234B03116F}"/>
    <pc:docChg chg="undo custSel modSld">
      <pc:chgData name="東村邦彦 / TOUMURA，KUNIHIKO" userId="aa80352f-8581-4c8d-8917-6e2824d17308" providerId="ADAL" clId="{E3D88086-2AE7-445F-A091-3C234B03116F}" dt="2019-05-24T11:39:15.036" v="2495" actId="20577"/>
      <pc:docMkLst>
        <pc:docMk/>
      </pc:docMkLst>
      <pc:sldChg chg="addSp delSp modSp">
        <pc:chgData name="東村邦彦 / TOUMURA，KUNIHIKO" userId="aa80352f-8581-4c8d-8917-6e2824d17308" providerId="ADAL" clId="{E3D88086-2AE7-445F-A091-3C234B03116F}" dt="2019-05-24T11:39:15.036" v="2495" actId="20577"/>
        <pc:sldMkLst>
          <pc:docMk/>
          <pc:sldMk cId="3519789833" sldId="946"/>
        </pc:sldMkLst>
        <pc:spChg chg="mod">
          <ac:chgData name="東村邦彦 / TOUMURA，KUNIHIKO" userId="aa80352f-8581-4c8d-8917-6e2824d17308" providerId="ADAL" clId="{E3D88086-2AE7-445F-A091-3C234B03116F}" dt="2019-05-24T05:46:39.591" v="146" actId="20577"/>
          <ac:spMkLst>
            <pc:docMk/>
            <pc:sldMk cId="3519789833" sldId="946"/>
            <ac:spMk id="2" creationId="{00000000-0000-0000-0000-000000000000}"/>
          </ac:spMkLst>
        </pc:spChg>
        <pc:spChg chg="del">
          <ac:chgData name="東村邦彦 / TOUMURA，KUNIHIKO" userId="aa80352f-8581-4c8d-8917-6e2824d17308" providerId="ADAL" clId="{E3D88086-2AE7-445F-A091-3C234B03116F}" dt="2019-05-24T05:44:11.648" v="89" actId="478"/>
          <ac:spMkLst>
            <pc:docMk/>
            <pc:sldMk cId="3519789833" sldId="946"/>
            <ac:spMk id="4" creationId="{9FFBF9E0-D627-4DAE-8C59-541A64070B41}"/>
          </ac:spMkLst>
        </pc:spChg>
        <pc:spChg chg="mod">
          <ac:chgData name="東村邦彦 / TOUMURA，KUNIHIKO" userId="aa80352f-8581-4c8d-8917-6e2824d17308" providerId="ADAL" clId="{E3D88086-2AE7-445F-A091-3C234B03116F}" dt="2019-05-24T05:57:57.120" v="205" actId="20577"/>
          <ac:spMkLst>
            <pc:docMk/>
            <pc:sldMk cId="3519789833" sldId="946"/>
            <ac:spMk id="9" creationId="{66AA3F31-D45A-45B3-B393-253D8E35DFED}"/>
          </ac:spMkLst>
        </pc:spChg>
        <pc:spChg chg="add del mod">
          <ac:chgData name="東村邦彦 / TOUMURA，KUNIHIKO" userId="aa80352f-8581-4c8d-8917-6e2824d17308" providerId="ADAL" clId="{E3D88086-2AE7-445F-A091-3C234B03116F}" dt="2019-05-24T05:51:32.852" v="167" actId="478"/>
          <ac:spMkLst>
            <pc:docMk/>
            <pc:sldMk cId="3519789833" sldId="946"/>
            <ac:spMk id="11" creationId="{6B329FB8-44F3-4558-856F-2AE608145C30}"/>
          </ac:spMkLst>
        </pc:spChg>
        <pc:spChg chg="add del mod">
          <ac:chgData name="東村邦彦 / TOUMURA，KUNIHIKO" userId="aa80352f-8581-4c8d-8917-6e2824d17308" providerId="ADAL" clId="{E3D88086-2AE7-445F-A091-3C234B03116F}" dt="2019-05-24T11:35:24.396" v="2458" actId="20577"/>
          <ac:spMkLst>
            <pc:docMk/>
            <pc:sldMk cId="3519789833" sldId="946"/>
            <ac:spMk id="12" creationId="{7CA1B16F-4B95-424C-ABD4-91C2D5E42E70}"/>
          </ac:spMkLst>
        </pc:spChg>
        <pc:spChg chg="add del">
          <ac:chgData name="東村邦彦 / TOUMURA，KUNIHIKO" userId="aa80352f-8581-4c8d-8917-6e2824d17308" providerId="ADAL" clId="{E3D88086-2AE7-445F-A091-3C234B03116F}" dt="2019-05-24T06:42:46.056" v="619"/>
          <ac:spMkLst>
            <pc:docMk/>
            <pc:sldMk cId="3519789833" sldId="946"/>
            <ac:spMk id="13" creationId="{3099FBC6-E3DF-4AB1-8525-64418B869D07}"/>
          </ac:spMkLst>
        </pc:spChg>
        <pc:spChg chg="del">
          <ac:chgData name="東村邦彦 / TOUMURA，KUNIHIKO" userId="aa80352f-8581-4c8d-8917-6e2824d17308" providerId="ADAL" clId="{E3D88086-2AE7-445F-A091-3C234B03116F}" dt="2019-05-24T05:44:09.354" v="88" actId="478"/>
          <ac:spMkLst>
            <pc:docMk/>
            <pc:sldMk cId="3519789833" sldId="946"/>
            <ac:spMk id="14" creationId="{1335CE9A-DA43-4BF6-9543-284AC044609E}"/>
          </ac:spMkLst>
        </pc:spChg>
        <pc:spChg chg="add del">
          <ac:chgData name="東村邦彦 / TOUMURA，KUNIHIKO" userId="aa80352f-8581-4c8d-8917-6e2824d17308" providerId="ADAL" clId="{E3D88086-2AE7-445F-A091-3C234B03116F}" dt="2019-05-24T06:43:04.362" v="629"/>
          <ac:spMkLst>
            <pc:docMk/>
            <pc:sldMk cId="3519789833" sldId="946"/>
            <ac:spMk id="15" creationId="{4FF0B0BF-FC58-420D-938E-1A077FDF96DF}"/>
          </ac:spMkLst>
        </pc:spChg>
        <pc:spChg chg="del">
          <ac:chgData name="東村邦彦 / TOUMURA，KUNIHIKO" userId="aa80352f-8581-4c8d-8917-6e2824d17308" providerId="ADAL" clId="{E3D88086-2AE7-445F-A091-3C234B03116F}" dt="2019-05-24T05:44:50.437" v="132" actId="478"/>
          <ac:spMkLst>
            <pc:docMk/>
            <pc:sldMk cId="3519789833" sldId="946"/>
            <ac:spMk id="18" creationId="{C1F253ED-1923-4A19-9D19-107186E374C0}"/>
          </ac:spMkLst>
        </pc:spChg>
        <pc:spChg chg="del">
          <ac:chgData name="東村邦彦 / TOUMURA，KUNIHIKO" userId="aa80352f-8581-4c8d-8917-6e2824d17308" providerId="ADAL" clId="{E3D88086-2AE7-445F-A091-3C234B03116F}" dt="2019-05-24T06:43:21.044" v="632" actId="478"/>
          <ac:spMkLst>
            <pc:docMk/>
            <pc:sldMk cId="3519789833" sldId="946"/>
            <ac:spMk id="19" creationId="{8CB75046-6809-45A3-9E00-2DD8A00F8E10}"/>
          </ac:spMkLst>
        </pc:spChg>
        <pc:spChg chg="del">
          <ac:chgData name="東村邦彦 / TOUMURA，KUNIHIKO" userId="aa80352f-8581-4c8d-8917-6e2824d17308" providerId="ADAL" clId="{E3D88086-2AE7-445F-A091-3C234B03116F}" dt="2019-05-24T05:44:48.109" v="131" actId="478"/>
          <ac:spMkLst>
            <pc:docMk/>
            <pc:sldMk cId="3519789833" sldId="946"/>
            <ac:spMk id="20" creationId="{673ED507-A889-4016-A643-B14727B26C9E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1" creationId="{5C3CE7E5-9014-4DA3-95B8-A4F4F16A0CFF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2" creationId="{16C3F43A-0A9C-4D4C-A4D1-501559ABDB99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3" creationId="{E1FF5749-4A9B-43C9-BEFD-3ABFC1803947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4" creationId="{7476A73A-67FB-4B99-AB9F-2D1AF7201485}"/>
          </ac:spMkLst>
        </pc:spChg>
        <pc:spChg chg="del">
          <ac:chgData name="東村邦彦 / TOUMURA，KUNIHIKO" userId="aa80352f-8581-4c8d-8917-6e2824d17308" providerId="ADAL" clId="{E3D88086-2AE7-445F-A091-3C234B03116F}" dt="2019-05-24T06:43:30.241" v="638"/>
          <ac:spMkLst>
            <pc:docMk/>
            <pc:sldMk cId="3519789833" sldId="946"/>
            <ac:spMk id="25" creationId="{1A3D3A99-1F61-4213-B8EB-516C5269F248}"/>
          </ac:spMkLst>
        </pc:spChg>
        <pc:spChg chg="del mod">
          <ac:chgData name="東村邦彦 / TOUMURA，KUNIHIKO" userId="aa80352f-8581-4c8d-8917-6e2824d17308" providerId="ADAL" clId="{E3D88086-2AE7-445F-A091-3C234B03116F}" dt="2019-05-24T06:43:23.973" v="634" actId="478"/>
          <ac:spMkLst>
            <pc:docMk/>
            <pc:sldMk cId="3519789833" sldId="946"/>
            <ac:spMk id="26" creationId="{C4B13978-EB18-48C6-A39A-4015FA60F5B9}"/>
          </ac:spMkLst>
        </pc:spChg>
        <pc:spChg chg="del">
          <ac:chgData name="東村邦彦 / TOUMURA，KUNIHIKO" userId="aa80352f-8581-4c8d-8917-6e2824d17308" providerId="ADAL" clId="{E3D88086-2AE7-445F-A091-3C234B03116F}" dt="2019-05-24T06:43:25.802" v="635" actId="478"/>
          <ac:spMkLst>
            <pc:docMk/>
            <pc:sldMk cId="3519789833" sldId="946"/>
            <ac:spMk id="27" creationId="{A6294D1E-B795-4086-A427-5203DD130C2B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8" creationId="{39C7244C-C101-4595-9195-B173058998BA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29" creationId="{F1A0B09A-21E4-4A1D-802E-9D22EEC78035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30" creationId="{EE48BF3A-9D40-47A3-A8D7-F4A5B956212C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12.316" v="652" actId="478"/>
          <ac:spMkLst>
            <pc:docMk/>
            <pc:sldMk cId="3519789833" sldId="946"/>
            <ac:spMk id="31" creationId="{D6B4D24F-9092-4B4F-B656-07F5EC5B2ECD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59:23.762" v="752" actId="478"/>
          <ac:spMkLst>
            <pc:docMk/>
            <pc:sldMk cId="3519789833" sldId="946"/>
            <ac:spMk id="32" creationId="{22073C5E-7C7C-42C3-8EBF-8F16FC3396D8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8.039" v="649" actId="478"/>
          <ac:spMkLst>
            <pc:docMk/>
            <pc:sldMk cId="3519789833" sldId="946"/>
            <ac:spMk id="34" creationId="{2A7BA9CB-5335-41D4-913E-8F5A01587BDE}"/>
          </ac:spMkLst>
        </pc:spChg>
        <pc:spChg chg="mod">
          <ac:chgData name="東村邦彦 / TOUMURA，KUNIHIKO" userId="aa80352f-8581-4c8d-8917-6e2824d17308" providerId="ADAL" clId="{E3D88086-2AE7-445F-A091-3C234B03116F}" dt="2019-05-24T09:31:33.375" v="1590" actId="207"/>
          <ac:spMkLst>
            <pc:docMk/>
            <pc:sldMk cId="3519789833" sldId="946"/>
            <ac:spMk id="37" creationId="{1B1CF97F-87A2-4539-9069-9C109BE7387D}"/>
          </ac:spMkLst>
        </pc:spChg>
        <pc:spChg chg="del mod topLvl">
          <ac:chgData name="東村邦彦 / TOUMURA，KUNIHIKO" userId="aa80352f-8581-4c8d-8917-6e2824d17308" providerId="ADAL" clId="{E3D88086-2AE7-445F-A091-3C234B03116F}" dt="2019-05-24T06:44:09.521" v="650" actId="478"/>
          <ac:spMkLst>
            <pc:docMk/>
            <pc:sldMk cId="3519789833" sldId="946"/>
            <ac:spMk id="38" creationId="{C984EF97-50AF-47DB-BF49-713F30E9DB25}"/>
          </ac:spMkLst>
        </pc:spChg>
        <pc:spChg chg="add del mod ord topLvl">
          <ac:chgData name="東村邦彦 / TOUMURA，KUNIHIKO" userId="aa80352f-8581-4c8d-8917-6e2824d17308" providerId="ADAL" clId="{E3D88086-2AE7-445F-A091-3C234B03116F}" dt="2019-05-24T06:59:54.802" v="759" actId="338"/>
          <ac:spMkLst>
            <pc:docMk/>
            <pc:sldMk cId="3519789833" sldId="946"/>
            <ac:spMk id="39" creationId="{655FD40A-672D-4995-93F3-8A43A0DDD8DA}"/>
          </ac:spMkLst>
        </pc:spChg>
        <pc:spChg chg="del">
          <ac:chgData name="東村邦彦 / TOUMURA，KUNIHIKO" userId="aa80352f-8581-4c8d-8917-6e2824d17308" providerId="ADAL" clId="{E3D88086-2AE7-445F-A091-3C234B03116F}" dt="2019-05-24T06:44:17.387" v="654" actId="478"/>
          <ac:spMkLst>
            <pc:docMk/>
            <pc:sldMk cId="3519789833" sldId="946"/>
            <ac:spMk id="41" creationId="{CAE329DD-29FB-406C-ADB3-CF65ABDEA582}"/>
          </ac:spMkLst>
        </pc:spChg>
        <pc:spChg chg="del">
          <ac:chgData name="東村邦彦 / TOUMURA，KUNIHIKO" userId="aa80352f-8581-4c8d-8917-6e2824d17308" providerId="ADAL" clId="{E3D88086-2AE7-445F-A091-3C234B03116F}" dt="2019-05-24T06:43:59.406" v="647" actId="478"/>
          <ac:spMkLst>
            <pc:docMk/>
            <pc:sldMk cId="3519789833" sldId="946"/>
            <ac:spMk id="42" creationId="{E6BFD496-1D5C-4627-A358-DBB449DF032D}"/>
          </ac:spMkLst>
        </pc:spChg>
        <pc:spChg chg="del mod">
          <ac:chgData name="東村邦彦 / TOUMURA，KUNIHIKO" userId="aa80352f-8581-4c8d-8917-6e2824d17308" providerId="ADAL" clId="{E3D88086-2AE7-445F-A091-3C234B03116F}" dt="2019-05-24T06:43:57.587" v="646" actId="478"/>
          <ac:spMkLst>
            <pc:docMk/>
            <pc:sldMk cId="3519789833" sldId="946"/>
            <ac:spMk id="43" creationId="{CBEC8CB4-5E0A-44CE-AD37-3D74ACAE6C97}"/>
          </ac:spMkLst>
        </pc:spChg>
        <pc:spChg chg="del">
          <ac:chgData name="東村邦彦 / TOUMURA，KUNIHIKO" userId="aa80352f-8581-4c8d-8917-6e2824d17308" providerId="ADAL" clId="{E3D88086-2AE7-445F-A091-3C234B03116F}" dt="2019-05-24T06:44:15.152" v="653" actId="478"/>
          <ac:spMkLst>
            <pc:docMk/>
            <pc:sldMk cId="3519789833" sldId="946"/>
            <ac:spMk id="44" creationId="{F5CCA776-5E2D-4F60-8838-F90C3B895B5F}"/>
          </ac:spMkLst>
        </pc:spChg>
        <pc:spChg chg="del">
          <ac:chgData name="東村邦彦 / TOUMURA，KUNIHIKO" userId="aa80352f-8581-4c8d-8917-6e2824d17308" providerId="ADAL" clId="{E3D88086-2AE7-445F-A091-3C234B03116F}" dt="2019-05-24T06:44:20.696" v="655" actId="478"/>
          <ac:spMkLst>
            <pc:docMk/>
            <pc:sldMk cId="3519789833" sldId="946"/>
            <ac:spMk id="45" creationId="{6E8645C4-0359-40BA-AD3C-3C2675E7D239}"/>
          </ac:spMkLst>
        </pc:spChg>
        <pc:spChg chg="add del mod topLvl">
          <ac:chgData name="東村邦彦 / TOUMURA，KUNIHIKO" userId="aa80352f-8581-4c8d-8917-6e2824d17308" providerId="ADAL" clId="{E3D88086-2AE7-445F-A091-3C234B03116F}" dt="2019-05-24T06:45:01.717" v="665" actId="478"/>
          <ac:spMkLst>
            <pc:docMk/>
            <pc:sldMk cId="3519789833" sldId="946"/>
            <ac:spMk id="47" creationId="{8B6E117A-FBDC-401B-9EF8-70B22E466AF2}"/>
          </ac:spMkLst>
        </pc:spChg>
        <pc:spChg chg="del">
          <ac:chgData name="東村邦彦 / TOUMURA，KUNIHIKO" userId="aa80352f-8581-4c8d-8917-6e2824d17308" providerId="ADAL" clId="{E3D88086-2AE7-445F-A091-3C234B03116F}" dt="2019-05-24T06:44:37.110" v="660" actId="478"/>
          <ac:spMkLst>
            <pc:docMk/>
            <pc:sldMk cId="3519789833" sldId="946"/>
            <ac:spMk id="48" creationId="{AC9101CE-16AE-4EC3-8F37-D8A49159C62E}"/>
          </ac:spMkLst>
        </pc:spChg>
        <pc:spChg chg="mod">
          <ac:chgData name="東村邦彦 / TOUMURA，KUNIHIKO" userId="aa80352f-8581-4c8d-8917-6e2824d17308" providerId="ADAL" clId="{E3D88086-2AE7-445F-A091-3C234B03116F}" dt="2019-05-24T06:45:22.429" v="669" actId="404"/>
          <ac:spMkLst>
            <pc:docMk/>
            <pc:sldMk cId="3519789833" sldId="946"/>
            <ac:spMk id="49" creationId="{00F588F9-8B85-4DDF-BFA2-79272E4853F9}"/>
          </ac:spMkLst>
        </pc:spChg>
        <pc:spChg chg="mod">
          <ac:chgData name="東村邦彦 / TOUMURA，KUNIHIKO" userId="aa80352f-8581-4c8d-8917-6e2824d17308" providerId="ADAL" clId="{E3D88086-2AE7-445F-A091-3C234B03116F}" dt="2019-05-24T06:45:22.429" v="669" actId="404"/>
          <ac:spMkLst>
            <pc:docMk/>
            <pc:sldMk cId="3519789833" sldId="946"/>
            <ac:spMk id="50" creationId="{0D84C231-5CD6-4822-9E1A-EF1A3345C908}"/>
          </ac:spMkLst>
        </pc:spChg>
        <pc:spChg chg="mod">
          <ac:chgData name="東村邦彦 / TOUMURA，KUNIHIKO" userId="aa80352f-8581-4c8d-8917-6e2824d17308" providerId="ADAL" clId="{E3D88086-2AE7-445F-A091-3C234B03116F}" dt="2019-05-24T06:45:22.429" v="669" actId="404"/>
          <ac:spMkLst>
            <pc:docMk/>
            <pc:sldMk cId="3519789833" sldId="946"/>
            <ac:spMk id="51" creationId="{761905FE-0557-4F0A-A95A-5CAB741DB7EA}"/>
          </ac:spMkLst>
        </pc:spChg>
        <pc:spChg chg="mod">
          <ac:chgData name="東村邦彦 / TOUMURA，KUNIHIKO" userId="aa80352f-8581-4c8d-8917-6e2824d17308" providerId="ADAL" clId="{E3D88086-2AE7-445F-A091-3C234B03116F}" dt="2019-05-24T06:45:22.429" v="669" actId="404"/>
          <ac:spMkLst>
            <pc:docMk/>
            <pc:sldMk cId="3519789833" sldId="946"/>
            <ac:spMk id="52" creationId="{314ACB8A-66C5-4655-B08D-37FC9BB466C0}"/>
          </ac:spMkLst>
        </pc:spChg>
        <pc:spChg chg="del">
          <ac:chgData name="東村邦彦 / TOUMURA，KUNIHIKO" userId="aa80352f-8581-4c8d-8917-6e2824d17308" providerId="ADAL" clId="{E3D88086-2AE7-445F-A091-3C234B03116F}" dt="2019-05-24T06:43:41.562" v="641"/>
          <ac:spMkLst>
            <pc:docMk/>
            <pc:sldMk cId="3519789833" sldId="946"/>
            <ac:spMk id="55" creationId="{D5E5CFF0-D97E-49EE-AA59-47B64959CB03}"/>
          </ac:spMkLst>
        </pc:spChg>
        <pc:spChg chg="del">
          <ac:chgData name="東村邦彦 / TOUMURA，KUNIHIKO" userId="aa80352f-8581-4c8d-8917-6e2824d17308" providerId="ADAL" clId="{E3D88086-2AE7-445F-A091-3C234B03116F}" dt="2019-05-24T06:43:37.202" v="640"/>
          <ac:spMkLst>
            <pc:docMk/>
            <pc:sldMk cId="3519789833" sldId="946"/>
            <ac:spMk id="58" creationId="{E6C25930-9A39-4B7A-B7CF-AEDE878E9FC6}"/>
          </ac:spMkLst>
        </pc:spChg>
        <pc:spChg chg="del">
          <ac:chgData name="東村邦彦 / TOUMURA，KUNIHIKO" userId="aa80352f-8581-4c8d-8917-6e2824d17308" providerId="ADAL" clId="{E3D88086-2AE7-445F-A091-3C234B03116F}" dt="2019-05-24T06:43:35.550" v="639"/>
          <ac:spMkLst>
            <pc:docMk/>
            <pc:sldMk cId="3519789833" sldId="946"/>
            <ac:spMk id="64" creationId="{DE71D193-E15F-4F58-BBE4-3C87B8F1C3D6}"/>
          </ac:spMkLst>
        </pc:spChg>
        <pc:spChg chg="add del">
          <ac:chgData name="東村邦彦 / TOUMURA，KUNIHIKO" userId="aa80352f-8581-4c8d-8917-6e2824d17308" providerId="ADAL" clId="{E3D88086-2AE7-445F-A091-3C234B03116F}" dt="2019-05-24T06:46:30.348" v="678"/>
          <ac:spMkLst>
            <pc:docMk/>
            <pc:sldMk cId="3519789833" sldId="946"/>
            <ac:spMk id="74" creationId="{8C6531A6-72B1-4711-841F-23487B34F756}"/>
          </ac:spMkLst>
        </pc:spChg>
        <pc:spChg chg="add mod ord">
          <ac:chgData name="東村邦彦 / TOUMURA，KUNIHIKO" userId="aa80352f-8581-4c8d-8917-6e2824d17308" providerId="ADAL" clId="{E3D88086-2AE7-445F-A091-3C234B03116F}" dt="2019-05-24T07:00:03.809" v="761" actId="14100"/>
          <ac:spMkLst>
            <pc:docMk/>
            <pc:sldMk cId="3519789833" sldId="946"/>
            <ac:spMk id="75" creationId="{5C036DC4-9AEE-48D0-A097-0DAF2FBF7583}"/>
          </ac:spMkLst>
        </pc:spChg>
        <pc:spChg chg="add mod ord">
          <ac:chgData name="東村邦彦 / TOUMURA，KUNIHIKO" userId="aa80352f-8581-4c8d-8917-6e2824d17308" providerId="ADAL" clId="{E3D88086-2AE7-445F-A091-3C234B03116F}" dt="2019-05-24T11:15:44.626" v="2059" actId="20577"/>
          <ac:spMkLst>
            <pc:docMk/>
            <pc:sldMk cId="3519789833" sldId="946"/>
            <ac:spMk id="76" creationId="{0ED6B353-5764-4822-9C5E-0D238D8D7D1C}"/>
          </ac:spMkLst>
        </pc:spChg>
        <pc:spChg chg="add mod ord">
          <ac:chgData name="東村邦彦 / TOUMURA，KUNIHIKO" userId="aa80352f-8581-4c8d-8917-6e2824d17308" providerId="ADAL" clId="{E3D88086-2AE7-445F-A091-3C234B03116F}" dt="2019-05-24T06:58:34.653" v="749" actId="14100"/>
          <ac:spMkLst>
            <pc:docMk/>
            <pc:sldMk cId="3519789833" sldId="946"/>
            <ac:spMk id="77" creationId="{644158A6-B273-470D-B3B0-80ECEE0D088C}"/>
          </ac:spMkLst>
        </pc:spChg>
        <pc:spChg chg="add mod">
          <ac:chgData name="東村邦彦 / TOUMURA，KUNIHIKO" userId="aa80352f-8581-4c8d-8917-6e2824d17308" providerId="ADAL" clId="{E3D88086-2AE7-445F-A091-3C234B03116F}" dt="2019-05-24T11:29:36.684" v="2166" actId="20577"/>
          <ac:spMkLst>
            <pc:docMk/>
            <pc:sldMk cId="3519789833" sldId="946"/>
            <ac:spMk id="79" creationId="{E2874C1B-5A51-42BB-AAD7-67468963BD27}"/>
          </ac:spMkLst>
        </pc:spChg>
        <pc:spChg chg="add mod">
          <ac:chgData name="東村邦彦 / TOUMURA，KUNIHIKO" userId="aa80352f-8581-4c8d-8917-6e2824d17308" providerId="ADAL" clId="{E3D88086-2AE7-445F-A091-3C234B03116F}" dt="2019-05-24T11:39:15.036" v="2495" actId="20577"/>
          <ac:spMkLst>
            <pc:docMk/>
            <pc:sldMk cId="3519789833" sldId="946"/>
            <ac:spMk id="80" creationId="{138641CF-4363-49F4-A511-130381A23623}"/>
          </ac:spMkLst>
        </pc:spChg>
        <pc:grpChg chg="add del mod">
          <ac:chgData name="東村邦彦 / TOUMURA，KUNIHIKO" userId="aa80352f-8581-4c8d-8917-6e2824d17308" providerId="ADAL" clId="{E3D88086-2AE7-445F-A091-3C234B03116F}" dt="2019-05-24T06:46:00.601" v="673" actId="165"/>
          <ac:grpSpMkLst>
            <pc:docMk/>
            <pc:sldMk cId="3519789833" sldId="946"/>
            <ac:grpSpMk id="6" creationId="{6DD2CA22-86BA-4619-89E8-EBAED0CA73B4}"/>
          </ac:grpSpMkLst>
        </pc:grpChg>
        <pc:grpChg chg="add mod ord">
          <ac:chgData name="東村邦彦 / TOUMURA，KUNIHIKO" userId="aa80352f-8581-4c8d-8917-6e2824d17308" providerId="ADAL" clId="{E3D88086-2AE7-445F-A091-3C234B03116F}" dt="2019-05-24T06:59:59.458" v="760" actId="166"/>
          <ac:grpSpMkLst>
            <pc:docMk/>
            <pc:sldMk cId="3519789833" sldId="946"/>
            <ac:grpSpMk id="7" creationId="{0DB6D54F-00AF-4675-9027-64B88558B255}"/>
          </ac:grpSpMkLst>
        </pc:grpChg>
        <pc:grpChg chg="add del mod">
          <ac:chgData name="東村邦彦 / TOUMURA，KUNIHIKO" userId="aa80352f-8581-4c8d-8917-6e2824d17308" providerId="ADAL" clId="{E3D88086-2AE7-445F-A091-3C234B03116F}" dt="2019-05-24T06:43:51.170" v="644" actId="165"/>
          <ac:grpSpMkLst>
            <pc:docMk/>
            <pc:sldMk cId="3519789833" sldId="946"/>
            <ac:grpSpMk id="16" creationId="{4C4CC989-C80F-450F-AE6B-318BF2FDCD36}"/>
          </ac:grpSpMkLst>
        </pc:grpChg>
        <pc:grpChg chg="del mod topLvl">
          <ac:chgData name="東村邦彦 / TOUMURA，KUNIHIKO" userId="aa80352f-8581-4c8d-8917-6e2824d17308" providerId="ADAL" clId="{E3D88086-2AE7-445F-A091-3C234B03116F}" dt="2019-05-24T06:49:19.843" v="691" actId="478"/>
          <ac:grpSpMkLst>
            <pc:docMk/>
            <pc:sldMk cId="3519789833" sldId="946"/>
            <ac:grpSpMk id="17" creationId="{14E15486-4273-437B-B288-35BC8CC00629}"/>
          </ac:grpSpMkLst>
        </pc:grpChg>
        <pc:grpChg chg="del mod topLvl">
          <ac:chgData name="東村邦彦 / TOUMURA，KUNIHIKO" userId="aa80352f-8581-4c8d-8917-6e2824d17308" providerId="ADAL" clId="{E3D88086-2AE7-445F-A091-3C234B03116F}" dt="2019-05-24T06:44:03.713" v="648" actId="478"/>
          <ac:grpSpMkLst>
            <pc:docMk/>
            <pc:sldMk cId="3519789833" sldId="946"/>
            <ac:grpSpMk id="33" creationId="{CBE3567A-6CD6-4BC5-B2A2-F35DB053818F}"/>
          </ac:grpSpMkLst>
        </pc:grpChg>
        <pc:grpChg chg="del mod topLvl">
          <ac:chgData name="東村邦彦 / TOUMURA，KUNIHIKO" userId="aa80352f-8581-4c8d-8917-6e2824d17308" providerId="ADAL" clId="{E3D88086-2AE7-445F-A091-3C234B03116F}" dt="2019-05-24T06:44:52.312" v="661" actId="165"/>
          <ac:grpSpMkLst>
            <pc:docMk/>
            <pc:sldMk cId="3519789833" sldId="946"/>
            <ac:grpSpMk id="35" creationId="{CD9E4952-637A-478E-BAEE-7144811AA255}"/>
          </ac:grpSpMkLst>
        </pc:grpChg>
        <pc:grpChg chg="add del mod topLvl">
          <ac:chgData name="東村邦彦 / TOUMURA，KUNIHIKO" userId="aa80352f-8581-4c8d-8917-6e2824d17308" providerId="ADAL" clId="{E3D88086-2AE7-445F-A091-3C234B03116F}" dt="2019-05-24T06:59:54.802" v="759" actId="338"/>
          <ac:grpSpMkLst>
            <pc:docMk/>
            <pc:sldMk cId="3519789833" sldId="946"/>
            <ac:grpSpMk id="40" creationId="{3F1D67F4-AD89-410D-8704-464CBFEB3DA3}"/>
          </ac:grpSpMkLst>
        </pc:grpChg>
        <pc:grpChg chg="del">
          <ac:chgData name="東村邦彦 / TOUMURA，KUNIHIKO" userId="aa80352f-8581-4c8d-8917-6e2824d17308" providerId="ADAL" clId="{E3D88086-2AE7-445F-A091-3C234B03116F}" dt="2019-05-24T06:44:37.110" v="660" actId="478"/>
          <ac:grpSpMkLst>
            <pc:docMk/>
            <pc:sldMk cId="3519789833" sldId="946"/>
            <ac:grpSpMk id="46" creationId="{D21AEA26-0674-4BF9-B1D3-F335F098980D}"/>
          </ac:grpSpMkLst>
        </pc:grpChg>
        <pc:grpChg chg="del mod">
          <ac:chgData name="東村邦彦 / TOUMURA，KUNIHIKO" userId="aa80352f-8581-4c8d-8917-6e2824d17308" providerId="ADAL" clId="{E3D88086-2AE7-445F-A091-3C234B03116F}" dt="2019-05-24T06:43:35.550" v="639"/>
          <ac:grpSpMkLst>
            <pc:docMk/>
            <pc:sldMk cId="3519789833" sldId="946"/>
            <ac:grpSpMk id="56" creationId="{3E6A51B8-3478-4F64-AB7E-0DB0AF9F67DA}"/>
          </ac:grpSpMkLst>
        </pc:grpChg>
        <pc:grpChg chg="del mod">
          <ac:chgData name="東村邦彦 / TOUMURA，KUNIHIKO" userId="aa80352f-8581-4c8d-8917-6e2824d17308" providerId="ADAL" clId="{E3D88086-2AE7-445F-A091-3C234B03116F}" dt="2019-05-24T06:43:37.202" v="640"/>
          <ac:grpSpMkLst>
            <pc:docMk/>
            <pc:sldMk cId="3519789833" sldId="946"/>
            <ac:grpSpMk id="57" creationId="{5CC3B473-B4C3-46FE-B6D9-84C777C470EF}"/>
          </ac:grpSpMkLst>
        </pc:grpChg>
        <pc:grpChg chg="mod">
          <ac:chgData name="東村邦彦 / TOUMURA，KUNIHIKO" userId="aa80352f-8581-4c8d-8917-6e2824d17308" providerId="ADAL" clId="{E3D88086-2AE7-445F-A091-3C234B03116F}" dt="2019-05-24T06:43:37.202" v="640"/>
          <ac:grpSpMkLst>
            <pc:docMk/>
            <pc:sldMk cId="3519789833" sldId="946"/>
            <ac:grpSpMk id="59" creationId="{A620F90F-69C0-4039-BFF1-F99265BA091B}"/>
          </ac:grpSpMkLst>
        </pc:grpChg>
        <pc:grpChg chg="mod">
          <ac:chgData name="東村邦彦 / TOUMURA，KUNIHIKO" userId="aa80352f-8581-4c8d-8917-6e2824d17308" providerId="ADAL" clId="{E3D88086-2AE7-445F-A091-3C234B03116F}" dt="2019-05-24T06:43:35.550" v="639"/>
          <ac:grpSpMkLst>
            <pc:docMk/>
            <pc:sldMk cId="3519789833" sldId="946"/>
            <ac:grpSpMk id="65" creationId="{E5F97F83-CCBC-4DFD-9C1F-B2A333600953}"/>
          </ac:grpSpMkLst>
        </pc:grpChg>
        <pc:picChg chg="add mod">
          <ac:chgData name="東村邦彦 / TOUMURA，KUNIHIKO" userId="aa80352f-8581-4c8d-8917-6e2824d17308" providerId="ADAL" clId="{E3D88086-2AE7-445F-A091-3C234B03116F}" dt="2019-05-24T05:41:43.852" v="87" actId="1076"/>
          <ac:picMkLst>
            <pc:docMk/>
            <pc:sldMk cId="3519789833" sldId="946"/>
            <ac:picMk id="5" creationId="{F224B004-BA88-4E15-98BD-1A51B948E050}"/>
          </ac:picMkLst>
        </pc:picChg>
        <pc:picChg chg="add mod modCrop">
          <ac:chgData name="東村邦彦 / TOUMURA，KUNIHIKO" userId="aa80352f-8581-4c8d-8917-6e2824d17308" providerId="ADAL" clId="{E3D88086-2AE7-445F-A091-3C234B03116F}" dt="2019-05-24T06:59:08.068" v="751" actId="732"/>
          <ac:picMkLst>
            <pc:docMk/>
            <pc:sldMk cId="3519789833" sldId="946"/>
            <ac:picMk id="78" creationId="{C8E2F4BF-28BE-4407-951D-F28B0BA44023}"/>
          </ac:picMkLst>
        </pc:picChg>
        <pc:cxnChg chg="del mod topLvl">
          <ac:chgData name="東村邦彦 / TOUMURA，KUNIHIKO" userId="aa80352f-8581-4c8d-8917-6e2824d17308" providerId="ADAL" clId="{E3D88086-2AE7-445F-A091-3C234B03116F}" dt="2019-05-24T06:44:11.003" v="651" actId="478"/>
          <ac:cxnSpMkLst>
            <pc:docMk/>
            <pc:sldMk cId="3519789833" sldId="946"/>
            <ac:cxnSpMk id="36" creationId="{2A2D756A-914F-4C3F-AE84-01B71DFCBCC4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WoT Open Day </a:t>
            </a:r>
            <a:br>
              <a:rPr lang="en-US" noProof="0" dirty="0"/>
            </a:br>
            <a:r>
              <a:rPr lang="en-US" noProof="0" dirty="0"/>
              <a:t>Rapid IoT application development using</a:t>
            </a:r>
            <a:r>
              <a:rPr lang="en-US" dirty="0"/>
              <a:t> the Web of Things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619268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itHub repository: https://github.com/k-toumura/node-red-nodegen/tree/webofthing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: kunihiko.toumura.yv@hitachi.co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B1CF97F-87A2-4539-9069-9C109BE7387D}"/>
              </a:ext>
            </a:extLst>
          </p:cNvPr>
          <p:cNvSpPr/>
          <p:nvPr/>
        </p:nvSpPr>
        <p:spPr bwMode="auto">
          <a:xfrm>
            <a:off x="9556750" y="333375"/>
            <a:ext cx="2159000" cy="9144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F224B004-BA88-4E15-98BD-1A51B948E0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50" y="367200"/>
            <a:ext cx="2159000" cy="846749"/>
          </a:xfrm>
          <a:prstGeom prst="rect">
            <a:avLst/>
          </a:prstGeom>
        </p:spPr>
      </p:pic>
      <p:sp>
        <p:nvSpPr>
          <p:cNvPr id="12" name="Textfeld 13">
            <a:extLst>
              <a:ext uri="{FF2B5EF4-FFF2-40B4-BE49-F238E27FC236}">
                <a16:creationId xmlns:a16="http://schemas.microsoft.com/office/drawing/2014/main" id="{7CA1B16F-4B95-424C-ABD4-91C2D5E42E70}"/>
              </a:ext>
            </a:extLst>
          </p:cNvPr>
          <p:cNvSpPr txBox="1"/>
          <p:nvPr/>
        </p:nvSpPr>
        <p:spPr>
          <a:xfrm>
            <a:off x="807191" y="2204864"/>
            <a:ext cx="6012064" cy="144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IoT application development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rgbClr val="00646E"/>
                </a:solidFill>
                <a:ea typeface="Arial Unicode MS"/>
              </a:rPr>
              <a:t>Node Generator</a:t>
            </a:r>
            <a:r>
              <a:rPr lang="en-US" sz="1600" dirty="0">
                <a:solidFill>
                  <a:srgbClr val="00646E"/>
                </a:solidFill>
                <a:ea typeface="Arial Unicode MS"/>
              </a:rPr>
              <a:t>: A tool for generating a Node-RED node module from a WoT Thing Description (TD).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Using this tool, developer can handle a node on the Flow Editor as an avatar of the Thing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rgbClr val="00646E"/>
              </a:solidFill>
              <a:ea typeface="Arial Unicode MS"/>
            </a:endParaRPr>
          </a:p>
        </p:txBody>
      </p:sp>
      <p:pic>
        <p:nvPicPr>
          <p:cNvPr id="78" name="図 77">
            <a:extLst>
              <a:ext uri="{FF2B5EF4-FFF2-40B4-BE49-F238E27FC236}">
                <a16:creationId xmlns:a16="http://schemas.microsoft.com/office/drawing/2014/main" id="{C8E2F4BF-28BE-4407-951D-F28B0BA440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5555" b="53071"/>
          <a:stretch/>
        </p:blipFill>
        <p:spPr>
          <a:xfrm>
            <a:off x="4341781" y="3076694"/>
            <a:ext cx="2549482" cy="2224514"/>
          </a:xfrm>
          <a:prstGeom prst="rect">
            <a:avLst/>
          </a:prstGeom>
        </p:spPr>
      </p:pic>
      <p:sp>
        <p:nvSpPr>
          <p:cNvPr id="77" name="Down Arrow 40">
            <a:extLst>
              <a:ext uri="{FF2B5EF4-FFF2-40B4-BE49-F238E27FC236}">
                <a16:creationId xmlns:a16="http://schemas.microsoft.com/office/drawing/2014/main" id="{644158A6-B273-470D-B3B0-80ECEE0D088C}"/>
              </a:ext>
            </a:extLst>
          </p:cNvPr>
          <p:cNvSpPr/>
          <p:nvPr/>
        </p:nvSpPr>
        <p:spPr>
          <a:xfrm rot="5400000" flipV="1">
            <a:off x="4140050" y="4126277"/>
            <a:ext cx="605882" cy="720080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76" name="正方形/長方形 75">
            <a:extLst>
              <a:ext uri="{FF2B5EF4-FFF2-40B4-BE49-F238E27FC236}">
                <a16:creationId xmlns:a16="http://schemas.microsoft.com/office/drawing/2014/main" id="{0ED6B353-5764-4822-9C5E-0D238D8D7D1C}"/>
              </a:ext>
            </a:extLst>
          </p:cNvPr>
          <p:cNvSpPr/>
          <p:nvPr/>
        </p:nvSpPr>
        <p:spPr bwMode="auto">
          <a:xfrm>
            <a:off x="2942509" y="3992929"/>
            <a:ext cx="1269857" cy="94736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 anchor="ctr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altLang="ja-JP" sz="2000" b="1" i="1">
                <a:solidFill>
                  <a:schemeClr val="bg1"/>
                </a:solidFill>
              </a:rPr>
              <a:t>Node</a:t>
            </a:r>
          </a:p>
          <a:p>
            <a:pPr algn="ctr">
              <a:spcBef>
                <a:spcPts val="0"/>
              </a:spcBef>
            </a:pPr>
            <a:r>
              <a:rPr lang="en-US" altLang="ja-JP" sz="2000" b="1" i="1">
                <a:solidFill>
                  <a:schemeClr val="bg1"/>
                </a:solidFill>
              </a:rPr>
              <a:t>Generator</a:t>
            </a:r>
            <a:endParaRPr kumimoji="1" lang="ja-JP" altLang="en-US" sz="2000" b="1" i="1" dirty="0">
              <a:solidFill>
                <a:schemeClr val="bg1"/>
              </a:solidFill>
            </a:endParaRPr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5C036DC4-9AEE-48D0-A097-0DAF2FBF7583}"/>
              </a:ext>
            </a:extLst>
          </p:cNvPr>
          <p:cNvSpPr/>
          <p:nvPr/>
        </p:nvSpPr>
        <p:spPr>
          <a:xfrm rot="5400000" flipV="1">
            <a:off x="2379830" y="4126277"/>
            <a:ext cx="605882" cy="720080"/>
          </a:xfrm>
          <a:prstGeom prst="downArrow">
            <a:avLst>
              <a:gd name="adj1" fmla="val 50000"/>
              <a:gd name="adj2" fmla="val 50000"/>
            </a:avLst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0DB6D54F-00AF-4675-9027-64B88558B255}"/>
              </a:ext>
            </a:extLst>
          </p:cNvPr>
          <p:cNvGrpSpPr/>
          <p:nvPr/>
        </p:nvGrpSpPr>
        <p:grpSpPr>
          <a:xfrm>
            <a:off x="789175" y="4120333"/>
            <a:ext cx="1569936" cy="764705"/>
            <a:chOff x="789175" y="4120333"/>
            <a:chExt cx="1569936" cy="764705"/>
          </a:xfrm>
        </p:grpSpPr>
        <p:sp>
          <p:nvSpPr>
            <p:cNvPr id="39" name="角丸四角形 21">
              <a:extLst>
                <a:ext uri="{FF2B5EF4-FFF2-40B4-BE49-F238E27FC236}">
                  <a16:creationId xmlns:a16="http://schemas.microsoft.com/office/drawing/2014/main" id="{655FD40A-672D-4995-93F3-8A43A0DDD8DA}"/>
                </a:ext>
              </a:extLst>
            </p:cNvPr>
            <p:cNvSpPr/>
            <p:nvPr/>
          </p:nvSpPr>
          <p:spPr bwMode="auto">
            <a:xfrm>
              <a:off x="789175" y="4120333"/>
              <a:ext cx="1569936" cy="764705"/>
            </a:xfrm>
            <a:prstGeom prst="foldedCorner">
              <a:avLst>
                <a:gd name="adj" fmla="val 20194"/>
              </a:avLst>
            </a:prstGeom>
            <a:solidFill>
              <a:srgbClr val="E57709"/>
            </a:solidFill>
            <a:ln w="762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Noto Sans" panose="020B0502040504020204" pitchFamily="34"/>
                  <a:cs typeface="Arial" panose="020B0604020202020204" pitchFamily="34" charset="0"/>
                </a:rPr>
                <a:t>WoT Thing</a:t>
              </a:r>
            </a:p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Noto Sans" panose="020B0502040504020204" pitchFamily="34"/>
                  <a:cs typeface="Arial" panose="020B0604020202020204" pitchFamily="34" charset="0"/>
                </a:rPr>
                <a:t>Description</a:t>
              </a:r>
              <a:endParaRPr kumimoji="0" lang="en-US" altLang="ja-JP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Noto Sans" panose="020B0502040504020204" pitchFamily="34"/>
                <a:cs typeface="Arial" panose="020B0604020202020204" pitchFamily="34" charset="0"/>
              </a:endParaRPr>
            </a:p>
          </p:txBody>
        </p:sp>
        <p:grpSp>
          <p:nvGrpSpPr>
            <p:cNvPr id="40" name="Group 29">
              <a:extLst>
                <a:ext uri="{FF2B5EF4-FFF2-40B4-BE49-F238E27FC236}">
                  <a16:creationId xmlns:a16="http://schemas.microsoft.com/office/drawing/2014/main" id="{3F1D67F4-AD89-410D-8704-464CBFEB3DA3}"/>
                </a:ext>
              </a:extLst>
            </p:cNvPr>
            <p:cNvGrpSpPr/>
            <p:nvPr/>
          </p:nvGrpSpPr>
          <p:grpSpPr>
            <a:xfrm>
              <a:off x="893573" y="4295658"/>
              <a:ext cx="406874" cy="413406"/>
              <a:chOff x="1789088" y="2720451"/>
              <a:chExt cx="413417" cy="426972"/>
            </a:xfrm>
          </p:grpSpPr>
          <p:sp>
            <p:nvSpPr>
              <p:cNvPr id="49" name="Isosceles Triangle 29">
                <a:extLst>
                  <a:ext uri="{FF2B5EF4-FFF2-40B4-BE49-F238E27FC236}">
                    <a16:creationId xmlns:a16="http://schemas.microsoft.com/office/drawing/2014/main" id="{00F588F9-8B85-4DDF-BFA2-79272E4853F9}"/>
                  </a:ext>
                </a:extLst>
              </p:cNvPr>
              <p:cNvSpPr/>
              <p:nvPr/>
            </p:nvSpPr>
            <p:spPr>
              <a:xfrm rot="1800000">
                <a:off x="1896401" y="2765072"/>
                <a:ext cx="306104" cy="263882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>
                  <a:defRPr/>
                </a:pPr>
                <a:endParaRPr kumimoji="0" lang="en-US" sz="3600" kern="0">
                  <a:solidFill>
                    <a:prstClr val="white"/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endParaRPr>
              </a:p>
            </p:txBody>
          </p:sp>
          <p:sp>
            <p:nvSpPr>
              <p:cNvPr id="50" name="Oval 30">
                <a:extLst>
                  <a:ext uri="{FF2B5EF4-FFF2-40B4-BE49-F238E27FC236}">
                    <a16:creationId xmlns:a16="http://schemas.microsoft.com/office/drawing/2014/main" id="{0D84C231-5CD6-4822-9E1A-EF1A3345C908}"/>
                  </a:ext>
                </a:extLst>
              </p:cNvPr>
              <p:cNvSpPr/>
              <p:nvPr/>
            </p:nvSpPr>
            <p:spPr>
              <a:xfrm rot="19800000">
                <a:off x="2054835" y="2720451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>
                  <a:defRPr/>
                </a:pPr>
                <a:endParaRPr kumimoji="0" lang="en-US" sz="3600" kern="0">
                  <a:solidFill>
                    <a:prstClr val="white"/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endParaRPr>
              </a:p>
            </p:txBody>
          </p:sp>
          <p:sp>
            <p:nvSpPr>
              <p:cNvPr id="51" name="Oval 31">
                <a:extLst>
                  <a:ext uri="{FF2B5EF4-FFF2-40B4-BE49-F238E27FC236}">
                    <a16:creationId xmlns:a16="http://schemas.microsoft.com/office/drawing/2014/main" id="{761905FE-0557-4F0A-A95A-5CAB741DB7EA}"/>
                  </a:ext>
                </a:extLst>
              </p:cNvPr>
              <p:cNvSpPr/>
              <p:nvPr/>
            </p:nvSpPr>
            <p:spPr>
              <a:xfrm rot="19800000">
                <a:off x="1789088" y="2873520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>
                  <a:defRPr/>
                </a:pPr>
                <a:endParaRPr kumimoji="0" lang="en-US" sz="3600" kern="0">
                  <a:solidFill>
                    <a:prstClr val="white"/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endParaRPr>
              </a:p>
            </p:txBody>
          </p:sp>
          <p:sp>
            <p:nvSpPr>
              <p:cNvPr id="52" name="Oval 32">
                <a:extLst>
                  <a:ext uri="{FF2B5EF4-FFF2-40B4-BE49-F238E27FC236}">
                    <a16:creationId xmlns:a16="http://schemas.microsoft.com/office/drawing/2014/main" id="{314ACB8A-66C5-4655-B08D-37FC9BB466C0}"/>
                  </a:ext>
                </a:extLst>
              </p:cNvPr>
              <p:cNvSpPr/>
              <p:nvPr/>
            </p:nvSpPr>
            <p:spPr>
              <a:xfrm rot="1800000">
                <a:off x="2054838" y="3025919"/>
                <a:ext cx="121505" cy="121504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>
                  <a:defRPr/>
                </a:pPr>
                <a:endParaRPr kumimoji="0" lang="en-US" sz="3600" kern="0">
                  <a:solidFill>
                    <a:prstClr val="white"/>
                  </a:solidFill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endParaRPr>
              </a:p>
            </p:txBody>
          </p:sp>
        </p:grpSp>
      </p:grpSp>
      <p:sp>
        <p:nvSpPr>
          <p:cNvPr id="79" name="Textfeld 13">
            <a:extLst>
              <a:ext uri="{FF2B5EF4-FFF2-40B4-BE49-F238E27FC236}">
                <a16:creationId xmlns:a16="http://schemas.microsoft.com/office/drawing/2014/main" id="{E2874C1B-5A51-42BB-AAD7-67468963BD27}"/>
              </a:ext>
            </a:extLst>
          </p:cNvPr>
          <p:cNvSpPr txBox="1"/>
          <p:nvPr/>
        </p:nvSpPr>
        <p:spPr>
          <a:xfrm>
            <a:off x="7755359" y="2231660"/>
            <a:ext cx="3816424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Since each IoT platform uses different transport protocol and data format, developer have to implement protocol handling logic or build an application on an IoT platform-specific environment. </a:t>
            </a:r>
          </a:p>
        </p:txBody>
      </p:sp>
      <p:sp>
        <p:nvSpPr>
          <p:cNvPr id="80" name="Textfeld 13">
            <a:extLst>
              <a:ext uri="{FF2B5EF4-FFF2-40B4-BE49-F238E27FC236}">
                <a16:creationId xmlns:a16="http://schemas.microsoft.com/office/drawing/2014/main" id="{138641CF-4363-49F4-A511-130381A23623}"/>
              </a:ext>
            </a:extLst>
          </p:cNvPr>
          <p:cNvSpPr txBox="1"/>
          <p:nvPr/>
        </p:nvSpPr>
        <p:spPr>
          <a:xfrm>
            <a:off x="7755359" y="3908775"/>
            <a:ext cx="3816424" cy="13924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646E"/>
                </a:solidFill>
                <a:ea typeface="Arial Unicode MS"/>
              </a:rPr>
              <a:t>TD provides a </a:t>
            </a:r>
            <a:r>
              <a:rPr lang="en-US" sz="1600">
                <a:solidFill>
                  <a:srgbClr val="00646E"/>
                </a:solidFill>
                <a:ea typeface="Arial Unicode MS"/>
              </a:rPr>
              <a:t>formal specification of how </a:t>
            </a:r>
            <a:r>
              <a:rPr lang="en-US" sz="1600" dirty="0">
                <a:solidFill>
                  <a:srgbClr val="00646E"/>
                </a:solidFill>
                <a:ea typeface="Arial Unicode MS"/>
              </a:rPr>
              <a:t>to interact with the Thing.  Moreover, the tool can utilize semantic information in the TD, such as type of Thing and links for other related Things.</a:t>
            </a:r>
          </a:p>
        </p:txBody>
      </p:sp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/>
</file>

<file path=customXml/itemProps1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5</TotalTime>
  <Words>147</Words>
  <Application>Microsoft Office PowerPoint</Application>
  <PresentationFormat>ユーザー設定</PresentationFormat>
  <Paragraphs>13</Paragraphs>
  <Slides>1</Slides>
  <Notes>1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5" baseType="lpstr">
      <vt:lpstr>Arial</vt:lpstr>
      <vt:lpstr>Noto Sans</vt:lpstr>
      <vt:lpstr>Wingdings</vt:lpstr>
      <vt:lpstr>Siemens 2017 – 16:9</vt:lpstr>
      <vt:lpstr>W3C WoT Open Day  Rapid IoT application development using the Web of Things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東村邦彦 / TOUMURA，KUNIHIKO</cp:lastModifiedBy>
  <cp:revision>22</cp:revision>
  <cp:lastPrinted>2017-05-16T13:00:22Z</cp:lastPrinted>
  <dcterms:created xsi:type="dcterms:W3CDTF">2019-05-20T09:02:38Z</dcterms:created>
  <dcterms:modified xsi:type="dcterms:W3CDTF">2019-05-24T11:3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